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BDBDBD"/>
    <a:srgbClr val="727272"/>
    <a:srgbClr val="E5E5E5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C33823CC-8C54-4D38-AE0F-1937C6FCF159}"/>
    <pc:docChg chg="undo custSel modSld">
      <pc:chgData name="Weigel Stefan (PAR-ES)" userId="fd3b2067-2981-4ad8-bf3a-d2e1004e4fa8" providerId="ADAL" clId="{C33823CC-8C54-4D38-AE0F-1937C6FCF159}" dt="2022-12-08T15:39:35.006" v="100" actId="20577"/>
      <pc:docMkLst>
        <pc:docMk/>
      </pc:docMkLst>
      <pc:sldChg chg="addSp delSp modSp mod">
        <pc:chgData name="Weigel Stefan (PAR-ES)" userId="fd3b2067-2981-4ad8-bf3a-d2e1004e4fa8" providerId="ADAL" clId="{C33823CC-8C54-4D38-AE0F-1937C6FCF159}" dt="2022-12-08T15:39:35.006" v="100" actId="20577"/>
        <pc:sldMkLst>
          <pc:docMk/>
          <pc:sldMk cId="2378578510" sldId="412"/>
        </pc:sldMkLst>
        <pc:spChg chg="mod">
          <ac:chgData name="Weigel Stefan (PAR-ES)" userId="fd3b2067-2981-4ad8-bf3a-d2e1004e4fa8" providerId="ADAL" clId="{C33823CC-8C54-4D38-AE0F-1937C6FCF159}" dt="2022-12-08T15:17:25.967" v="23" actId="20577"/>
          <ac:spMkLst>
            <pc:docMk/>
            <pc:sldMk cId="2378578510" sldId="412"/>
            <ac:spMk id="2" creationId="{00000000-0000-0000-0000-000000000000}"/>
          </ac:spMkLst>
        </pc:spChg>
        <pc:spChg chg="add del mod">
          <ac:chgData name="Weigel Stefan (PAR-ES)" userId="fd3b2067-2981-4ad8-bf3a-d2e1004e4fa8" providerId="ADAL" clId="{C33823CC-8C54-4D38-AE0F-1937C6FCF159}" dt="2022-12-08T15:25:03.064" v="66"/>
          <ac:spMkLst>
            <pc:docMk/>
            <pc:sldMk cId="2378578510" sldId="412"/>
            <ac:spMk id="3" creationId="{33849BC8-3E53-44EC-12E2-0C65E9291855}"/>
          </ac:spMkLst>
        </pc:spChg>
        <pc:spChg chg="mod">
          <ac:chgData name="Weigel Stefan (PAR-ES)" userId="fd3b2067-2981-4ad8-bf3a-d2e1004e4fa8" providerId="ADAL" clId="{C33823CC-8C54-4D38-AE0F-1937C6FCF159}" dt="2022-12-08T15:19:56.620" v="60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C33823CC-8C54-4D38-AE0F-1937C6FCF159}" dt="2022-12-08T15:39:35.006" v="100" actId="20577"/>
          <ac:spMkLst>
            <pc:docMk/>
            <pc:sldMk cId="2378578510" sldId="412"/>
            <ac:spMk id="11" creationId="{CAAD78FC-EBAB-42C7-8FC8-FD065083F070}"/>
          </ac:spMkLst>
        </pc:spChg>
        <pc:graphicFrameChg chg="add del mod modGraphic">
          <ac:chgData name="Weigel Stefan (PAR-ES)" userId="fd3b2067-2981-4ad8-bf3a-d2e1004e4fa8" providerId="ADAL" clId="{C33823CC-8C54-4D38-AE0F-1937C6FCF159}" dt="2022-12-08T15:27:43.435" v="78" actId="478"/>
          <ac:graphicFrameMkLst>
            <pc:docMk/>
            <pc:sldMk cId="2378578510" sldId="412"/>
            <ac:graphicFrameMk id="5" creationId="{AB0D12E6-D536-DBD1-BB54-BB39F1274B8E}"/>
          </ac:graphicFrameMkLst>
        </pc:graphicFrameChg>
        <pc:graphicFrameChg chg="mod">
          <ac:chgData name="Weigel Stefan (PAR-ES)" userId="fd3b2067-2981-4ad8-bf3a-d2e1004e4fa8" providerId="ADAL" clId="{C33823CC-8C54-4D38-AE0F-1937C6FCF159}" dt="2022-12-08T15:26:11.137" v="73"/>
          <ac:graphicFrameMkLst>
            <pc:docMk/>
            <pc:sldMk cId="2378578510" sldId="412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A960615E-EB95-4422-B313-59381D4A110F}"/>
    <pc:docChg chg="modSld">
      <pc:chgData name="Weigel Stefan (PAR-ES)" userId="fd3b2067-2981-4ad8-bf3a-d2e1004e4fa8" providerId="ADAL" clId="{A960615E-EB95-4422-B313-59381D4A110F}" dt="2023-06-05T14:37:38.754" v="73" actId="20577"/>
      <pc:docMkLst>
        <pc:docMk/>
      </pc:docMkLst>
      <pc:sldChg chg="modSp mod">
        <pc:chgData name="Weigel Stefan (PAR-ES)" userId="fd3b2067-2981-4ad8-bf3a-d2e1004e4fa8" providerId="ADAL" clId="{A960615E-EB95-4422-B313-59381D4A110F}" dt="2023-06-05T14:37:38.754" v="73" actId="20577"/>
        <pc:sldMkLst>
          <pc:docMk/>
          <pc:sldMk cId="2378578510" sldId="412"/>
        </pc:sldMkLst>
        <pc:spChg chg="mod">
          <ac:chgData name="Weigel Stefan (PAR-ES)" userId="fd3b2067-2981-4ad8-bf3a-d2e1004e4fa8" providerId="ADAL" clId="{A960615E-EB95-4422-B313-59381D4A110F}" dt="2023-06-05T13:49:57.448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960615E-EB95-4422-B313-59381D4A110F}" dt="2023-06-05T14:37:38.754" v="73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H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H$4:$H$15</c:f>
              <c:strCache>
                <c:ptCount val="12"/>
                <c:pt idx="0">
                  <c:v>Biel/Bienne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uzern</c:v>
                </c:pt>
                <c:pt idx="7">
                  <c:v>Basel SBB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4:$I$15</c:f>
              <c:numCache>
                <c:formatCode>#,##0</c:formatCode>
                <c:ptCount val="12"/>
                <c:pt idx="0">
                  <c:v>46037.230179650403</c:v>
                </c:pt>
                <c:pt idx="1">
                  <c:v>50407.614743435603</c:v>
                </c:pt>
                <c:pt idx="2">
                  <c:v>71341.108065515495</c:v>
                </c:pt>
                <c:pt idx="3">
                  <c:v>71801.204892480295</c:v>
                </c:pt>
                <c:pt idx="4">
                  <c:v>74062.921362539404</c:v>
                </c:pt>
                <c:pt idx="5">
                  <c:v>84033.759667142105</c:v>
                </c:pt>
                <c:pt idx="6">
                  <c:v>88096.923527959196</c:v>
                </c:pt>
                <c:pt idx="7">
                  <c:v>90871.150940881096</c:v>
                </c:pt>
                <c:pt idx="8">
                  <c:v>93698.463973834499</c:v>
                </c:pt>
                <c:pt idx="9">
                  <c:v>93717.982585749807</c:v>
                </c:pt>
                <c:pt idx="10">
                  <c:v>164786.61019934199</c:v>
                </c:pt>
                <c:pt idx="11">
                  <c:v>360911.24512778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ser>
          <c:idx val="1"/>
          <c:order val="1"/>
          <c:tx>
            <c:strRef>
              <c:f>data!$J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val>
            <c:numRef>
              <c:f>data!$J$4:$J$15</c:f>
              <c:numCache>
                <c:formatCode>#,##0</c:formatCode>
                <c:ptCount val="12"/>
                <c:pt idx="0">
                  <c:v>53698.175479514</c:v>
                </c:pt>
                <c:pt idx="1">
                  <c:v>59700.802056528999</c:v>
                </c:pt>
                <c:pt idx="2">
                  <c:v>82830.752326849004</c:v>
                </c:pt>
                <c:pt idx="3">
                  <c:v>82954.724790880995</c:v>
                </c:pt>
                <c:pt idx="4">
                  <c:v>70674.853618659006</c:v>
                </c:pt>
                <c:pt idx="5">
                  <c:v>94691.643828779997</c:v>
                </c:pt>
                <c:pt idx="6">
                  <c:v>97851.399348337</c:v>
                </c:pt>
                <c:pt idx="7">
                  <c:v>110988.370117025</c:v>
                </c:pt>
                <c:pt idx="8">
                  <c:v>102518.160644038</c:v>
                </c:pt>
                <c:pt idx="9">
                  <c:v>109255.123356399</c:v>
                </c:pt>
                <c:pt idx="10">
                  <c:v>206449.596630149</c:v>
                </c:pt>
                <c:pt idx="11">
                  <c:v>471318.04892124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29-4BC0-B2A2-0C7A0E889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0401307248437723"/>
          <c:y val="1.463918163516585E-2"/>
          <c:w val="9.0333831602720321E-2"/>
          <c:h val="4.44579650884335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8.06.20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3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3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- und Aussteigende an den Bahnhöfen im 2022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892501530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urchschnittliche Anzahl Ein- und Aussteiger pro Werktag im Vergleich zu 2018.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029575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argestellt sind die 12 frequenzstärksten Bahnhöfe, berücksichtigt werden Passagiere der Eisenbahn. </a:t>
            </a: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: 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ohne SZU; Bern: ohne RBS; Basel SBB, Lausanne und Genève: Einsteigende in Richtung Ausland und Aussteigende aus dem Ausland sind nur zum Teil erfasst; Zürich Stadelhofen: ohne FB; Biel/Bienne: ohne ASM. Bezug: Fahrplanjahre 2018 und 2022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7" ma:contentTypeDescription="Ein neues Dokument erstellen." ma:contentTypeScope="" ma:versionID="93808078b09d6013c2f10fc10dcb4d7b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8a1b71b62ba116778a09da76b3231462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9FAEAE-8496-470D-83B5-8CB7DD781D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in- und Aussteigende an den Bahnhöfen im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- und Aussteigende an den Bahnhöfen im 2022.</dc:title>
  <dc:creator>Meyer Raphael (KOM-PGA-VSF)</dc:creator>
  <cp:lastModifiedBy>Stefan Weigel (PAR-ES)</cp:lastModifiedBy>
  <cp:revision>57</cp:revision>
  <dcterms:created xsi:type="dcterms:W3CDTF">2020-09-30T11:00:09Z</dcterms:created>
  <dcterms:modified xsi:type="dcterms:W3CDTF">2023-06-08T15:1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